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5"/>
  </p:notesMasterIdLst>
  <p:sldIdLst>
    <p:sldId id="265" r:id="rId3"/>
    <p:sldId id="495" r:id="rId4"/>
    <p:sldId id="264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96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E7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95" autoAdjust="0"/>
    <p:restoredTop sz="96163" autoAdjust="0"/>
  </p:normalViewPr>
  <p:slideViewPr>
    <p:cSldViewPr snapToGrid="0">
      <p:cViewPr varScale="1">
        <p:scale>
          <a:sx n="113" d="100"/>
          <a:sy n="113" d="100"/>
        </p:scale>
        <p:origin x="846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226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ina Ducasse" userId="75eba7c9-324b-4975-a33c-f867fc8840bf" providerId="ADAL" clId="{BD8F37E5-3F0E-4877-BABE-0593B6318BFF}"/>
    <pc:docChg chg="undo custSel modSld">
      <pc:chgData name="Karina Ducasse" userId="75eba7c9-324b-4975-a33c-f867fc8840bf" providerId="ADAL" clId="{BD8F37E5-3F0E-4877-BABE-0593B6318BFF}" dt="2022-06-30T16:59:42.402" v="96" actId="20577"/>
      <pc:docMkLst>
        <pc:docMk/>
      </pc:docMkLst>
      <pc:sldChg chg="modSp mod">
        <pc:chgData name="Karina Ducasse" userId="75eba7c9-324b-4975-a33c-f867fc8840bf" providerId="ADAL" clId="{BD8F37E5-3F0E-4877-BABE-0593B6318BFF}" dt="2022-06-30T16:49:16.761" v="43"/>
        <pc:sldMkLst>
          <pc:docMk/>
          <pc:sldMk cId="2739990261" sldId="264"/>
        </pc:sldMkLst>
        <pc:spChg chg="mod replST">
          <ac:chgData name="Karina Ducasse" userId="75eba7c9-324b-4975-a33c-f867fc8840bf" providerId="ADAL" clId="{BD8F37E5-3F0E-4877-BABE-0593B6318BFF}" dt="2022-06-30T16:49:16.759" v="42"/>
          <ac:spMkLst>
            <pc:docMk/>
            <pc:sldMk cId="2739990261" sldId="264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61" v="43"/>
          <ac:picMkLst>
            <pc:docMk/>
            <pc:sldMk cId="2739990261" sldId="264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48" v="38"/>
        <pc:sldMkLst>
          <pc:docMk/>
          <pc:sldMk cId="623683051" sldId="265"/>
        </pc:sldMkLst>
        <pc:spChg chg="mod replST">
          <ac:chgData name="Karina Ducasse" userId="75eba7c9-324b-4975-a33c-f867fc8840bf" providerId="ADAL" clId="{BD8F37E5-3F0E-4877-BABE-0593B6318BFF}" dt="2022-06-30T16:49:16.742" v="35"/>
          <ac:spMkLst>
            <pc:docMk/>
            <pc:sldMk cId="623683051" sldId="265"/>
            <ac:spMk id="2" creationId="{00000000-0000-0000-0000-000000000000}"/>
          </ac:spMkLst>
        </pc:spChg>
        <pc:spChg chg="replST">
          <ac:chgData name="Karina Ducasse" userId="75eba7c9-324b-4975-a33c-f867fc8840bf" providerId="ADAL" clId="{BD8F37E5-3F0E-4877-BABE-0593B6318BFF}" dt="2022-06-30T16:49:16.730" v="34"/>
          <ac:spMkLst>
            <pc:docMk/>
            <pc:sldMk cId="623683051" sldId="265"/>
            <ac:spMk id="4" creationId="{BF7B4991-5680-496C-9BA2-923177F4C6DE}"/>
          </ac:spMkLst>
        </pc:spChg>
        <pc:graphicFrameChg chg="replST">
          <ac:chgData name="Karina Ducasse" userId="75eba7c9-324b-4975-a33c-f867fc8840bf" providerId="ADAL" clId="{BD8F37E5-3F0E-4877-BABE-0593B6318BFF}" dt="2022-06-30T16:49:16.748" v="38"/>
          <ac:graphicFrameMkLst>
            <pc:docMk/>
            <pc:sldMk cId="623683051" sldId="265"/>
            <ac:graphicFrameMk id="8" creationId="{C93DBE18-8F20-40EE-8C64-637065DB2184}"/>
          </ac:graphicFrameMkLst>
        </pc:graphicFrameChg>
        <pc:picChg chg="replST">
          <ac:chgData name="Karina Ducasse" userId="75eba7c9-324b-4975-a33c-f867fc8840bf" providerId="ADAL" clId="{BD8F37E5-3F0E-4877-BABE-0593B6318BFF}" dt="2022-06-30T16:49:16.744" v="36"/>
          <ac:picMkLst>
            <pc:docMk/>
            <pc:sldMk cId="623683051" sldId="265"/>
            <ac:picMk id="5" creationId="{175411B1-04C0-4254-9690-4D0A9812D458}"/>
          </ac:picMkLst>
        </pc:picChg>
        <pc:picChg chg="replST">
          <ac:chgData name="Karina Ducasse" userId="75eba7c9-324b-4975-a33c-f867fc8840bf" providerId="ADAL" clId="{BD8F37E5-3F0E-4877-BABE-0593B6318BFF}" dt="2022-06-30T16:49:16.746" v="37"/>
          <ac:picMkLst>
            <pc:docMk/>
            <pc:sldMk cId="623683051" sldId="265"/>
            <ac:picMk id="7" creationId="{B00D8FBA-BD9E-4E13-A0AD-B19456A6370C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66" v="45"/>
        <pc:sldMkLst>
          <pc:docMk/>
          <pc:sldMk cId="2269596831" sldId="475"/>
        </pc:sldMkLst>
        <pc:spChg chg="mod replST">
          <ac:chgData name="Karina Ducasse" userId="75eba7c9-324b-4975-a33c-f867fc8840bf" providerId="ADAL" clId="{BD8F37E5-3F0E-4877-BABE-0593B6318BFF}" dt="2022-06-30T16:49:16.764" v="44"/>
          <ac:spMkLst>
            <pc:docMk/>
            <pc:sldMk cId="2269596831" sldId="475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66" v="45"/>
          <ac:picMkLst>
            <pc:docMk/>
            <pc:sldMk cId="2269596831" sldId="475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69" v="47"/>
        <pc:sldMkLst>
          <pc:docMk/>
          <pc:sldMk cId="3460747388" sldId="476"/>
        </pc:sldMkLst>
        <pc:spChg chg="mod replST">
          <ac:chgData name="Karina Ducasse" userId="75eba7c9-324b-4975-a33c-f867fc8840bf" providerId="ADAL" clId="{BD8F37E5-3F0E-4877-BABE-0593B6318BFF}" dt="2022-06-30T16:49:16.768" v="46"/>
          <ac:spMkLst>
            <pc:docMk/>
            <pc:sldMk cId="3460747388" sldId="476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69" v="47"/>
          <ac:picMkLst>
            <pc:docMk/>
            <pc:sldMk cId="3460747388" sldId="476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73" v="49"/>
        <pc:sldMkLst>
          <pc:docMk/>
          <pc:sldMk cId="1198301545" sldId="477"/>
        </pc:sldMkLst>
        <pc:spChg chg="mod replST">
          <ac:chgData name="Karina Ducasse" userId="75eba7c9-324b-4975-a33c-f867fc8840bf" providerId="ADAL" clId="{BD8F37E5-3F0E-4877-BABE-0593B6318BFF}" dt="2022-06-30T16:49:16.771" v="48"/>
          <ac:spMkLst>
            <pc:docMk/>
            <pc:sldMk cId="1198301545" sldId="477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73" v="49"/>
          <ac:picMkLst>
            <pc:docMk/>
            <pc:sldMk cId="1198301545" sldId="477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76" v="51"/>
        <pc:sldMkLst>
          <pc:docMk/>
          <pc:sldMk cId="3644322487" sldId="478"/>
        </pc:sldMkLst>
        <pc:spChg chg="replST">
          <ac:chgData name="Karina Ducasse" userId="75eba7c9-324b-4975-a33c-f867fc8840bf" providerId="ADAL" clId="{BD8F37E5-3F0E-4877-BABE-0593B6318BFF}" dt="2022-06-30T16:49:16.775" v="50"/>
          <ac:spMkLst>
            <pc:docMk/>
            <pc:sldMk cId="3644322487" sldId="478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76" v="51"/>
          <ac:picMkLst>
            <pc:docMk/>
            <pc:sldMk cId="3644322487" sldId="478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44.862" v="62" actId="20577"/>
        <pc:sldMkLst>
          <pc:docMk/>
          <pc:sldMk cId="888241772" sldId="479"/>
        </pc:sldMkLst>
        <pc:spChg chg="mod replST">
          <ac:chgData name="Karina Ducasse" userId="75eba7c9-324b-4975-a33c-f867fc8840bf" providerId="ADAL" clId="{BD8F37E5-3F0E-4877-BABE-0593B6318BFF}" dt="2022-06-30T16:49:44.862" v="62" actId="20577"/>
          <ac:spMkLst>
            <pc:docMk/>
            <pc:sldMk cId="888241772" sldId="479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80" v="53"/>
          <ac:picMkLst>
            <pc:docMk/>
            <pc:sldMk cId="888241772" sldId="479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85" v="55"/>
        <pc:sldMkLst>
          <pc:docMk/>
          <pc:sldMk cId="1577556842" sldId="480"/>
        </pc:sldMkLst>
        <pc:spChg chg="mod replST">
          <ac:chgData name="Karina Ducasse" userId="75eba7c9-324b-4975-a33c-f867fc8840bf" providerId="ADAL" clId="{BD8F37E5-3F0E-4877-BABE-0593B6318BFF}" dt="2022-06-30T16:49:16.783" v="54"/>
          <ac:spMkLst>
            <pc:docMk/>
            <pc:sldMk cId="1577556842" sldId="480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85" v="55"/>
          <ac:picMkLst>
            <pc:docMk/>
            <pc:sldMk cId="1577556842" sldId="480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59:42.402" v="96" actId="20577"/>
        <pc:sldMkLst>
          <pc:docMk/>
          <pc:sldMk cId="3096160268" sldId="481"/>
        </pc:sldMkLst>
        <pc:spChg chg="mod replST">
          <ac:chgData name="Karina Ducasse" userId="75eba7c9-324b-4975-a33c-f867fc8840bf" providerId="ADAL" clId="{BD8F37E5-3F0E-4877-BABE-0593B6318BFF}" dt="2022-06-30T16:59:42.402" v="96" actId="20577"/>
          <ac:spMkLst>
            <pc:docMk/>
            <pc:sldMk cId="3096160268" sldId="481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88" v="57"/>
          <ac:picMkLst>
            <pc:docMk/>
            <pc:sldMk cId="3096160268" sldId="481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96" v="61"/>
        <pc:sldMkLst>
          <pc:docMk/>
          <pc:sldMk cId="4204833532" sldId="482"/>
        </pc:sldMkLst>
        <pc:spChg chg="replST">
          <ac:chgData name="Karina Ducasse" userId="75eba7c9-324b-4975-a33c-f867fc8840bf" providerId="ADAL" clId="{BD8F37E5-3F0E-4877-BABE-0593B6318BFF}" dt="2022-06-30T16:49:16.794" v="60"/>
          <ac:spMkLst>
            <pc:docMk/>
            <pc:sldMk cId="4204833532" sldId="482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96" v="61"/>
          <ac:picMkLst>
            <pc:docMk/>
            <pc:sldMk cId="4204833532" sldId="482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57" v="41"/>
        <pc:sldMkLst>
          <pc:docMk/>
          <pc:sldMk cId="1566787646" sldId="495"/>
        </pc:sldMkLst>
        <pc:spChg chg="mod replST">
          <ac:chgData name="Karina Ducasse" userId="75eba7c9-324b-4975-a33c-f867fc8840bf" providerId="ADAL" clId="{BD8F37E5-3F0E-4877-BABE-0593B6318BFF}" dt="2022-06-30T16:49:16.753" v="39"/>
          <ac:spMkLst>
            <pc:docMk/>
            <pc:sldMk cId="1566787646" sldId="495"/>
            <ac:spMk id="6" creationId="{9F520F1B-A1D0-4CB3-A800-026E199C7D3E}"/>
          </ac:spMkLst>
        </pc:spChg>
        <pc:spChg chg="replST">
          <ac:chgData name="Karina Ducasse" userId="75eba7c9-324b-4975-a33c-f867fc8840bf" providerId="ADAL" clId="{BD8F37E5-3F0E-4877-BABE-0593B6318BFF}" dt="2022-06-30T16:49:16.755" v="40"/>
          <ac:spMkLst>
            <pc:docMk/>
            <pc:sldMk cId="1566787646" sldId="495"/>
            <ac:spMk id="10" creationId="{FC45DDE6-FF04-4CDF-BBD0-3E300353385A}"/>
          </ac:spMkLst>
        </pc:spChg>
        <pc:picChg chg="mod replST">
          <ac:chgData name="Karina Ducasse" userId="75eba7c9-324b-4975-a33c-f867fc8840bf" providerId="ADAL" clId="{BD8F37E5-3F0E-4877-BABE-0593B6318BFF}" dt="2022-06-30T16:49:16.757" v="41"/>
          <ac:picMkLst>
            <pc:docMk/>
            <pc:sldMk cId="1566787646" sldId="495"/>
            <ac:picMk id="9" creationId="{7C2CAD73-DBCE-45ED-BA27-56AA3F0E1E51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92" v="59"/>
        <pc:sldMkLst>
          <pc:docMk/>
          <pc:sldMk cId="2329204164" sldId="496"/>
        </pc:sldMkLst>
        <pc:spChg chg="replST">
          <ac:chgData name="Karina Ducasse" userId="75eba7c9-324b-4975-a33c-f867fc8840bf" providerId="ADAL" clId="{BD8F37E5-3F0E-4877-BABE-0593B6318BFF}" dt="2022-06-30T16:49:16.790" v="58"/>
          <ac:spMkLst>
            <pc:docMk/>
            <pc:sldMk cId="2329204164" sldId="496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92" v="59"/>
          <ac:picMkLst>
            <pc:docMk/>
            <pc:sldMk cId="2329204164" sldId="496"/>
            <ac:picMk id="7" creationId="{78BED60D-45DA-41D2-8936-C2BA4C8E1078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431449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2604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3013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836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10638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71535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6654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924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950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338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207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5554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8/3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18.xml"/><Relationship Id="rId10" Type="http://schemas.openxmlformats.org/officeDocument/2006/relationships/hyperlink" Target="https://view.officeapps.live.com/op/view.aspx?src=https%3A%2F%2Fwiki.gccollab.ca%2Fimages%2F4%2F4a%2FWTP_-_Signage_-_Retrieval_of_personal_and_business_assets_EN.pptx&amp;wdOrigin=BROWSELINK" TargetMode="External"/><Relationship Id="rId4" Type="http://schemas.openxmlformats.org/officeDocument/2006/relationships/tags" Target="../tags/tag17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7B4991-5680-496C-9BA2-923177F4C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24908" y="322561"/>
            <a:ext cx="8896349" cy="835027"/>
          </a:xfrm>
        </p:spPr>
        <p:txBody>
          <a:bodyPr>
            <a:normAutofit fontScale="90000"/>
          </a:bodyPr>
          <a:lstStyle/>
          <a:p>
            <a:pPr algn="l" rtl="0"/>
            <a:r>
              <a:rPr lang="fr-CA" sz="2400" b="1" i="0" u="none" baseline="0" dirty="0">
                <a:solidFill>
                  <a:schemeClr val="bg1"/>
                </a:solidFill>
                <a:latin typeface="Arial Rounded MT Bold" panose="020F0704030504030204" pitchFamily="34" charset="0"/>
                <a:ea typeface="Arial" panose="020B0604020202020204" pitchFamily="34" charset="0"/>
              </a:rPr>
              <a:t>Imprimer une série d’affiches de la journée de l’événement pour chaque étage ou équipe. Voir les directives supplémentaires ci-dessous. 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5411B1-04C0-4254-9690-4D0A9812D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00D8FBA-BD9E-4E13-A0AD-B19456A63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C93DBE18-8F20-40EE-8C64-637065DB218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86714232"/>
              </p:ext>
            </p:extLst>
          </p:nvPr>
        </p:nvGraphicFramePr>
        <p:xfrm>
          <a:off x="324116" y="1542281"/>
          <a:ext cx="9561540" cy="4828618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492510">
                  <a:extLst>
                    <a:ext uri="{9D8B030D-6E8A-4147-A177-3AD203B41FA5}">
                      <a16:colId xmlns:a16="http://schemas.microsoft.com/office/drawing/2014/main" val="1553875949"/>
                    </a:ext>
                  </a:extLst>
                </a:gridCol>
                <a:gridCol w="6069030">
                  <a:extLst>
                    <a:ext uri="{9D8B030D-6E8A-4147-A177-3AD203B41FA5}">
                      <a16:colId xmlns:a16="http://schemas.microsoft.com/office/drawing/2014/main" val="848242381"/>
                    </a:ext>
                  </a:extLst>
                </a:gridCol>
              </a:tblGrid>
              <a:tr h="408568">
                <a:tc>
                  <a:txBody>
                    <a:bodyPr/>
                    <a:lstStyle/>
                    <a:p>
                      <a:pPr algn="ctr" rtl="0"/>
                      <a:r>
                        <a:rPr lang="fr-ca" sz="1800" b="1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Type d’affi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ca" sz="1800" b="1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Emplac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064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Zones d’équipement de TI excédenta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’une grande boîte pour les biens et les périphériques située dans une zone central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33375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Mobilier excédenta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’une station équipée de feuillets adhésifs et de marqueurs permanents située dans une zone central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6315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Recyclage du pap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sur un bac de recyclage pour le papier ou sur le mur derrièr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102229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Déchique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es bacs/postes de déchiquetage déjà situés dans votre bureau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56003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Fournitures de bureau excédentai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’une grande boîte pour accueillir des fournitures de bureau supplémentair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72967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Éléments multimédi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’une grande boîte pouvant accueillir les éléments multimédias destinés à être détruit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462344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Déchets</a:t>
                      </a:r>
                      <a:endParaRPr lang="fr-ca" sz="1400" b="0" i="0" u="none" baseline="0" dirty="0">
                        <a:latin typeface="Calibri Light" panose="020F0302020204030204" pitchFamily="34" charset="0"/>
                        <a:ea typeface="Arial" panose="020B0604020202020204" pitchFamily="34" charset="0"/>
                        <a:cs typeface="Calibri Light" panose="020F03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es postes pour les déchets déjà situés dans votre bureau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785067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Remise en é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’une grande boîte pouvant accueillir l’équipe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70545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Désinf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Calibri Light" panose="020F0302020204030204" pitchFamily="34" charset="0"/>
                          <a:ea typeface="Arial" panose="020B0604020202020204" pitchFamily="34" charset="0"/>
                          <a:cs typeface="Calibri Light" panose="020F0302020204030204" pitchFamily="34" charset="0"/>
                        </a:rPr>
                        <a:t>Installer au-dessus d’une zone qui contient les EPI ainsi que tout le matériel de désinfec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272116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97211CE5-EFE2-46D2-B14F-99764EB2C0C6}"/>
              </a:ext>
            </a:extLst>
          </p:cNvPr>
          <p:cNvSpPr txBox="1"/>
          <p:nvPr/>
        </p:nvSpPr>
        <p:spPr>
          <a:xfrm>
            <a:off x="5689600" y="6396939"/>
            <a:ext cx="42920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*</a:t>
            </a:r>
            <a:r>
              <a:rPr lang="fr-CA" sz="12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La version anglaise de ce document est disponible ici : </a:t>
            </a:r>
            <a:r>
              <a:rPr lang="fr-CA" sz="1200" dirty="0">
                <a:latin typeface="Calibri Light" panose="020F0302020204030204" pitchFamily="34" charset="0"/>
                <a:cs typeface="Calibri Light" panose="020F0302020204030204" pitchFamily="34" charset="0"/>
                <a:hlinkClick r:id="rId10"/>
              </a:rPr>
              <a:t>Version ANG</a:t>
            </a:r>
            <a:endParaRPr lang="en-CA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68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658278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88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ÉQUIPEMENT DE TI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’équipement de TI et les périphériques excédentaires doivent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être placés ici pour être retournés à l’équipe de la T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160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78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BIENS CONSERVÉ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us les biens opérationnels et identifiés pour conservation. Veuillez étiqueter le matériel selon les directives fournies dans votre guide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204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ÉSINFEC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utiliser le matériel de désinfection fourni pour nettoyer toutes les surfaces de contact. De l’EPI est également fourni, veuillez le porter conformément aux recommandations.</a:t>
            </a:r>
            <a:endParaRPr kumimoji="0" lang="fr-CA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  <a:endParaRPr kumimoji="0" lang="fr-CA" sz="1800" b="1" i="1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3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2551288"/>
            <a:ext cx="10874424" cy="3626773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arrefour du capitaine du nettoy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rassembler tout le matériel de nettoyage nécessaire.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s questions? Le capitaine du nettoyage pourra y répondre.</a:t>
            </a:r>
            <a:endParaRPr kumimoji="0" lang="fr-CA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45DDE6-FF04-4CDF-BBD0-3E3003533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83198" y="2213992"/>
            <a:ext cx="1625601" cy="3887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pic>
        <p:nvPicPr>
          <p:cNvPr id="9" name="Picture 8" descr="Symbole d’une personne">
            <a:extLst>
              <a:ext uri="{FF2B5EF4-FFF2-40B4-BE49-F238E27FC236}">
                <a16:creationId xmlns:a16="http://schemas.microsoft.com/office/drawing/2014/main" id="{7C2CAD73-DBCE-45ED-BA27-56AA3F0E1E5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749" y="1231902"/>
            <a:ext cx="1896447" cy="189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7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88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ÉCHIQUET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vous assurer que le matériel peut être déchiqueté.</a:t>
            </a:r>
            <a:endParaRPr kumimoji="0" lang="fr-CA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9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ÉCHE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séparer les déchets des produits recyclables et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acer tous les déchets dans le bac prévu à cet effe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9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61138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ÉLÉMENTS MULTIMÉDIA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us les types de CD, DVD, etc., qui nécessitent une élimination sécuritaire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904463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MISE EN ÉTA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us les biens excédentaires (technologie) doivent être identifiés et placés ici. S’ils sont trop lourds pour être déplacés, veuillez les étiqueter en conséquence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1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72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CYCLAGE DU PAPIE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séparer le papier des autres matériaux (c’est-à-dire le plastique et le métal). Tous les documents sécurisés ayant dépassé leur période de conservation doivent être déchiquetés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2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76378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80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FOURNITURES DE BUREA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époser les fournitures de bureau excédentaires dans les boîtes prévues à cet effet. Cela comprend les stylos, les cahiers, les agrafeuses, les règles, les ciseaux, les classeurs ou toute autre fourniture de bureau pouvant être utilisé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MOBILIER EXCÉDENTAI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À l’aide des étiquettes fournies, apposer la mention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 excédentaire » sur tous les meubles brisés et inutilisés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5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7</TotalTime>
  <Words>541</Words>
  <Application>Microsoft Office PowerPoint</Application>
  <PresentationFormat>Widescreen</PresentationFormat>
  <Paragraphs>78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21" baseType="lpstr">
      <vt:lpstr>Arial</vt:lpstr>
      <vt:lpstr>Arial Black</vt:lpstr>
      <vt:lpstr>Arial Rounded MT Bold</vt:lpstr>
      <vt:lpstr>Calibri</vt:lpstr>
      <vt:lpstr>Calibri Light</vt:lpstr>
      <vt:lpstr>Georgia</vt:lpstr>
      <vt:lpstr>1_Office Theme</vt:lpstr>
      <vt:lpstr>2_Office Theme</vt:lpstr>
      <vt:lpstr>think-cell Slide</vt:lpstr>
      <vt:lpstr>Imprimer une série d’affiches de la journée de l’événement pour chaque étage ou équipe. Voir les directives supplémentaires ci-dessous.  </vt:lpstr>
      <vt:lpstr>Carrefour du capitaine du nettoyage Veuillez rassembler tout le matériel de nettoyage nécessaire.  Des questions? Le capitaine du nettoyage pourra y répondre.  Merci de votre participation!</vt:lpstr>
      <vt:lpstr>DÉCHIQUETAGE Veuillez vous assurer que le matériel peut être déchiqueté.  Merci de votre participation!</vt:lpstr>
      <vt:lpstr>DÉCHETS Veuillez séparer les déchets des produits recyclables et  placer tous les déchets dans le bac prévu à cet effet.  Merci de votre participation!</vt:lpstr>
      <vt:lpstr>ÉLÉMENTS MULTIMÉDIAS Tous les types de CD, DVD, etc., qui nécessitent une élimination sécuritaire.  Merci de votre participation!</vt:lpstr>
      <vt:lpstr>REMISE EN ÉTAT Tous les biens excédentaires (technologie) doivent être identifiés et placés ici. S’ils sont trop lourds pour être déplacés, veuillez les étiqueter en conséquence.  Merci de votre participation!</vt:lpstr>
      <vt:lpstr>RECYCLAGE DU PAPIER Veuillez séparer le papier des autres matériaux (c’est-à-dire le plastique et le métal). Tous les documents sécurisés ayant dépassé leur période de conservation doivent être déchiquetés.   Merci de votre participation!</vt:lpstr>
      <vt:lpstr>FOURNITURES DE BUREAU Déposer les fournitures de bureau excédentaires dans les boîtes prévues à cet effet. Cela comprend les stylos, les cahiers, les agrafeuses, les règles, les ciseaux, les classeurs ou toute autre fourniture de bureau pouvant être utilisés.   Merci de votre participation!</vt:lpstr>
      <vt:lpstr>MOBILIER EXCÉDENTAIRE À l’aide des étiquettes fournies, apposer la mention  « excédentaire » sur tous les meubles brisés et inutilisés.   Merci de votre participation!</vt:lpstr>
      <vt:lpstr>ÉQUIPEMENT DE TI L’équipement de TI et les périphériques excédentaires doivent  être placés ici pour être retournés à l’équipe de la TI.  Merci de votre participation!</vt:lpstr>
      <vt:lpstr>BIENS CONSERVÉS Tous les biens opérationnels et identifiés pour conservation. Veuillez étiqueter le matériel selon les directives fournies dans votre guide.   Merci de votre participation!</vt:lpstr>
      <vt:lpstr>DÉSINFECTION Veuillez utiliser le matériel de désinfection fourni pour nettoyer toutes les surfaces de contact. De l’EPI est également fourni, veuillez le porter conformément aux recommandations.  Merci de votre participa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Sophie Genereux</cp:lastModifiedBy>
  <cp:revision>76</cp:revision>
  <dcterms:created xsi:type="dcterms:W3CDTF">2016-09-22T13:56:19Z</dcterms:created>
  <dcterms:modified xsi:type="dcterms:W3CDTF">2022-08-30T15:38:02Z</dcterms:modified>
</cp:coreProperties>
</file>